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61" r:id="rId3"/>
    <p:sldId id="262" r:id="rId4"/>
    <p:sldId id="257" r:id="rId5"/>
    <p:sldId id="258" r:id="rId6"/>
    <p:sldId id="263" r:id="rId7"/>
    <p:sldId id="260" r:id="rId8"/>
    <p:sldId id="265" r:id="rId9"/>
    <p:sldId id="266" r:id="rId10"/>
    <p:sldId id="264" r:id="rId11"/>
  </p:sldIdLst>
  <p:sldSz cx="12192000" cy="6858000"/>
  <p:notesSz cx="6858000" cy="9144000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8ED7"/>
    <a:srgbClr val="CDB8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>
        <p:scale>
          <a:sx n="73" d="100"/>
          <a:sy n="73" d="100"/>
        </p:scale>
        <p:origin x="294" y="-6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44" d="100"/>
          <a:sy n="44" d="100"/>
        </p:scale>
        <p:origin x="2766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A56931-CD86-493E-AE50-70E4F30D3A88}" type="datetimeFigureOut">
              <a:rPr lang="ru-RU" smtClean="0"/>
              <a:t>20.05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F19832-6AB2-4266-BC2A-CC0CBE892FF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2280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F19832-6AB2-4266-BC2A-CC0CBE892FFF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97276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F19832-6AB2-4266-BC2A-CC0CBE892FF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8867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F19832-6AB2-4266-BC2A-CC0CBE892FF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76072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F19832-6AB2-4266-BC2A-CC0CBE892FFF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66258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F19832-6AB2-4266-BC2A-CC0CBE892FF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8820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8558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6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500" b="57222" l="931" r="70745">
                        <a14:foregroundMark x1="51064" y1="32685" x2="51064" y2="32685"/>
                        <a14:foregroundMark x1="42154" y1="28796" x2="42154" y2="28796"/>
                        <a14:foregroundMark x1="11702" y1="53611" x2="43617" y2="22500"/>
                        <a14:foregroundMark x1="30053" y1="53889" x2="53191" y2="27315"/>
                        <a14:foregroundMark x1="11835" y1="53056" x2="52660" y2="27407"/>
                        <a14:foregroundMark x1="43617" y1="22315" x2="36436" y2="55093"/>
                        <a14:foregroundMark x1="7181" y1="54815" x2="29255" y2="33981"/>
                        <a14:foregroundMark x1="18085" y1="42593" x2="5718" y2="23519"/>
                        <a14:foregroundMark x1="13032" y1="38796" x2="2793" y2="23241"/>
                        <a14:foregroundMark x1="21410" y1="40463" x2="5319" y2="16944"/>
                        <a14:foregroundMark x1="25000" y1="35833" x2="8378" y2="15093"/>
                        <a14:foregroundMark x1="30585" y1="33426" x2="14628" y2="12222"/>
                        <a14:foregroundMark x1="34441" y1="27315" x2="21011" y2="10185"/>
                        <a14:foregroundMark x1="38564" y1="22685" x2="28590" y2="10093"/>
                        <a14:foregroundMark x1="51995" y1="27870" x2="34441" y2="10833"/>
                        <a14:foregroundMark x1="42287" y1="41667" x2="53191" y2="38426"/>
                        <a14:foregroundMark x1="37633" y1="38426" x2="19681" y2="54444"/>
                        <a14:foregroundMark x1="7846" y1="55093" x2="33910" y2="55000"/>
                        <a14:foregroundMark x1="4521" y1="57222" x2="39362" y2="56296"/>
                      </a14:backgroundRemoval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44000"/>
          <a:stretch/>
        </p:blipFill>
        <p:spPr>
          <a:xfrm flipH="1">
            <a:off x="3663142" y="-1379"/>
            <a:ext cx="8528858" cy="6859379"/>
          </a:xfrm>
          <a:prstGeom prst="rect">
            <a:avLst/>
          </a:prstGeom>
        </p:spPr>
      </p:pic>
      <p:grpSp>
        <p:nvGrpSpPr>
          <p:cNvPr id="15" name="Группа 14"/>
          <p:cNvGrpSpPr/>
          <p:nvPr userDrawn="1"/>
        </p:nvGrpSpPr>
        <p:grpSpPr>
          <a:xfrm flipH="1">
            <a:off x="0" y="0"/>
            <a:ext cx="2151888" cy="1865376"/>
            <a:chOff x="0" y="0"/>
            <a:chExt cx="2151888" cy="1865376"/>
          </a:xfrm>
        </p:grpSpPr>
        <p:sp>
          <p:nvSpPr>
            <p:cNvPr id="10" name="Прямоугольник 9"/>
            <p:cNvSpPr/>
            <p:nvPr userDrawn="1"/>
          </p:nvSpPr>
          <p:spPr>
            <a:xfrm>
              <a:off x="0" y="146304"/>
              <a:ext cx="2151888" cy="457199"/>
            </a:xfrm>
            <a:prstGeom prst="rect">
              <a:avLst/>
            </a:prstGeom>
            <a:solidFill>
              <a:srgbClr val="AD8E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 10"/>
            <p:cNvSpPr/>
            <p:nvPr userDrawn="1"/>
          </p:nvSpPr>
          <p:spPr>
            <a:xfrm>
              <a:off x="1292352" y="0"/>
              <a:ext cx="499872" cy="1865376"/>
            </a:xfrm>
            <a:prstGeom prst="rect">
              <a:avLst/>
            </a:prstGeom>
            <a:solidFill>
              <a:srgbClr val="806A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2254499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684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6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500" b="57222" l="931" r="70745">
                        <a14:foregroundMark x1="51064" y1="32685" x2="51064" y2="32685"/>
                        <a14:foregroundMark x1="42154" y1="28796" x2="42154" y2="28796"/>
                        <a14:foregroundMark x1="11702" y1="53611" x2="43617" y2="22500"/>
                        <a14:foregroundMark x1="30053" y1="53889" x2="53191" y2="27315"/>
                        <a14:foregroundMark x1="11835" y1="53056" x2="52660" y2="27407"/>
                        <a14:foregroundMark x1="43617" y1="22315" x2="36436" y2="55093"/>
                        <a14:foregroundMark x1="7181" y1="54815" x2="29255" y2="33981"/>
                        <a14:foregroundMark x1="18085" y1="42593" x2="5718" y2="23519"/>
                        <a14:foregroundMark x1="13032" y1="38796" x2="2793" y2="23241"/>
                        <a14:foregroundMark x1="21410" y1="40463" x2="5319" y2="16944"/>
                        <a14:foregroundMark x1="25000" y1="35833" x2="8378" y2="15093"/>
                        <a14:foregroundMark x1="30585" y1="33426" x2="14628" y2="12222"/>
                        <a14:foregroundMark x1="34441" y1="27315" x2="21011" y2="10185"/>
                        <a14:foregroundMark x1="38564" y1="22685" x2="28590" y2="10093"/>
                        <a14:foregroundMark x1="51995" y1="27870" x2="34441" y2="10833"/>
                        <a14:foregroundMark x1="42287" y1="41667" x2="53191" y2="38426"/>
                        <a14:foregroundMark x1="37633" y1="38426" x2="19681" y2="54444"/>
                        <a14:foregroundMark x1="7846" y1="55093" x2="33910" y2="55000"/>
                        <a14:foregroundMark x1="4521" y1="57222" x2="39362" y2="56296"/>
                      </a14:backgroundRemoval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44000"/>
          <a:stretch/>
        </p:blipFill>
        <p:spPr>
          <a:xfrm flipH="1">
            <a:off x="3663142" y="-1379"/>
            <a:ext cx="8528858" cy="6859379"/>
          </a:xfrm>
          <a:prstGeom prst="rect">
            <a:avLst/>
          </a:prstGeom>
        </p:spPr>
      </p:pic>
      <p:sp>
        <p:nvSpPr>
          <p:cNvPr id="20" name="Полилиния 19"/>
          <p:cNvSpPr/>
          <p:nvPr userDrawn="1"/>
        </p:nvSpPr>
        <p:spPr>
          <a:xfrm>
            <a:off x="-1" y="0"/>
            <a:ext cx="8809892" cy="1107831"/>
          </a:xfrm>
          <a:custGeom>
            <a:avLst/>
            <a:gdLst>
              <a:gd name="connsiteX0" fmla="*/ 0 w 8809892"/>
              <a:gd name="connsiteY0" fmla="*/ 0 h 949570"/>
              <a:gd name="connsiteX1" fmla="*/ 8809892 w 8809892"/>
              <a:gd name="connsiteY1" fmla="*/ 0 h 949570"/>
              <a:gd name="connsiteX2" fmla="*/ 8809892 w 8809892"/>
              <a:gd name="connsiteY2" fmla="*/ 165121 h 949570"/>
              <a:gd name="connsiteX3" fmla="*/ 8687021 w 8809892"/>
              <a:gd name="connsiteY3" fmla="*/ 175239 h 949570"/>
              <a:gd name="connsiteX4" fmla="*/ 7066109 w 8809892"/>
              <a:gd name="connsiteY4" fmla="*/ 909155 h 949570"/>
              <a:gd name="connsiteX5" fmla="*/ 7025050 w 8809892"/>
              <a:gd name="connsiteY5" fmla="*/ 949570 h 949570"/>
              <a:gd name="connsiteX6" fmla="*/ 0 w 8809892"/>
              <a:gd name="connsiteY6" fmla="*/ 949570 h 949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9892" h="949570">
                <a:moveTo>
                  <a:pt x="0" y="0"/>
                </a:moveTo>
                <a:lnTo>
                  <a:pt x="8809892" y="0"/>
                </a:lnTo>
                <a:lnTo>
                  <a:pt x="8809892" y="165121"/>
                </a:lnTo>
                <a:lnTo>
                  <a:pt x="8687021" y="175239"/>
                </a:lnTo>
                <a:cubicBezTo>
                  <a:pt x="8074597" y="242597"/>
                  <a:pt x="7515979" y="507071"/>
                  <a:pt x="7066109" y="909155"/>
                </a:cubicBezTo>
                <a:lnTo>
                  <a:pt x="7025050" y="949570"/>
                </a:lnTo>
                <a:lnTo>
                  <a:pt x="0" y="949570"/>
                </a:lnTo>
                <a:close/>
              </a:path>
            </a:pathLst>
          </a:cu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-1379"/>
            <a:ext cx="12192000" cy="6859379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47159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666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олилиния 4"/>
          <p:cNvSpPr/>
          <p:nvPr userDrawn="1"/>
        </p:nvSpPr>
        <p:spPr>
          <a:xfrm flipH="1">
            <a:off x="3382108" y="0"/>
            <a:ext cx="8809892" cy="1107831"/>
          </a:xfrm>
          <a:custGeom>
            <a:avLst/>
            <a:gdLst>
              <a:gd name="connsiteX0" fmla="*/ 0 w 8809892"/>
              <a:gd name="connsiteY0" fmla="*/ 0 h 949570"/>
              <a:gd name="connsiteX1" fmla="*/ 8809892 w 8809892"/>
              <a:gd name="connsiteY1" fmla="*/ 0 h 949570"/>
              <a:gd name="connsiteX2" fmla="*/ 8809892 w 8809892"/>
              <a:gd name="connsiteY2" fmla="*/ 165121 h 949570"/>
              <a:gd name="connsiteX3" fmla="*/ 8687021 w 8809892"/>
              <a:gd name="connsiteY3" fmla="*/ 175239 h 949570"/>
              <a:gd name="connsiteX4" fmla="*/ 7066109 w 8809892"/>
              <a:gd name="connsiteY4" fmla="*/ 909155 h 949570"/>
              <a:gd name="connsiteX5" fmla="*/ 7025050 w 8809892"/>
              <a:gd name="connsiteY5" fmla="*/ 949570 h 949570"/>
              <a:gd name="connsiteX6" fmla="*/ 0 w 8809892"/>
              <a:gd name="connsiteY6" fmla="*/ 949570 h 949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09892" h="949570">
                <a:moveTo>
                  <a:pt x="0" y="0"/>
                </a:moveTo>
                <a:lnTo>
                  <a:pt x="8809892" y="0"/>
                </a:lnTo>
                <a:lnTo>
                  <a:pt x="8809892" y="165121"/>
                </a:lnTo>
                <a:lnTo>
                  <a:pt x="8687021" y="175239"/>
                </a:lnTo>
                <a:cubicBezTo>
                  <a:pt x="8074597" y="242597"/>
                  <a:pt x="7515979" y="507071"/>
                  <a:pt x="7066109" y="909155"/>
                </a:cubicBezTo>
                <a:lnTo>
                  <a:pt x="7025050" y="949570"/>
                </a:lnTo>
                <a:lnTo>
                  <a:pt x="0" y="949570"/>
                </a:lnTo>
                <a:close/>
              </a:path>
            </a:pathLst>
          </a:cu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6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500" b="57222" l="931" r="70745">
                        <a14:foregroundMark x1="51064" y1="32685" x2="51064" y2="32685"/>
                        <a14:foregroundMark x1="42154" y1="28796" x2="42154" y2="28796"/>
                        <a14:foregroundMark x1="11702" y1="53611" x2="43617" y2="22500"/>
                        <a14:foregroundMark x1="30053" y1="53889" x2="53191" y2="27315"/>
                        <a14:foregroundMark x1="11835" y1="53056" x2="52660" y2="27407"/>
                        <a14:foregroundMark x1="43617" y1="22315" x2="36436" y2="55093"/>
                        <a14:foregroundMark x1="7181" y1="54815" x2="29255" y2="33981"/>
                        <a14:foregroundMark x1="18085" y1="42593" x2="5718" y2="23519"/>
                        <a14:foregroundMark x1="13032" y1="38796" x2="2793" y2="23241"/>
                        <a14:foregroundMark x1="21410" y1="40463" x2="5319" y2="16944"/>
                        <a14:foregroundMark x1="25000" y1="35833" x2="8378" y2="15093"/>
                        <a14:foregroundMark x1="30585" y1="33426" x2="14628" y2="12222"/>
                        <a14:foregroundMark x1="34441" y1="27315" x2="21011" y2="10185"/>
                        <a14:foregroundMark x1="38564" y1="22685" x2="28590" y2="10093"/>
                        <a14:foregroundMark x1="51995" y1="27870" x2="34441" y2="10833"/>
                        <a14:foregroundMark x1="42287" y1="41667" x2="53191" y2="38426"/>
                        <a14:foregroundMark x1="37633" y1="38426" x2="19681" y2="54444"/>
                        <a14:foregroundMark x1="7846" y1="55093" x2="33910" y2="55000"/>
                        <a14:foregroundMark x1="4521" y1="57222" x2="39362" y2="56296"/>
                      </a14:backgroundRemoval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44000"/>
          <a:stretch/>
        </p:blipFill>
        <p:spPr>
          <a:xfrm>
            <a:off x="0" y="-1379"/>
            <a:ext cx="8528858" cy="6859379"/>
          </a:xfrm>
          <a:prstGeom prst="rect">
            <a:avLst/>
          </a:prstGeom>
        </p:spPr>
      </p:pic>
      <p:sp>
        <p:nvSpPr>
          <p:cNvPr id="8" name="Прямоугольник 7"/>
          <p:cNvSpPr/>
          <p:nvPr userDrawn="1"/>
        </p:nvSpPr>
        <p:spPr>
          <a:xfrm>
            <a:off x="0" y="-1379"/>
            <a:ext cx="12192000" cy="6859379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3822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C0753-D01A-4F05-9EC4-255706F10CF3}" type="datetimeFigureOut">
              <a:rPr lang="ru-RU" smtClean="0"/>
              <a:t>20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C85E9-36ED-4B66-A49D-87A3762468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85180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2656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8" imgW="416" imgH="416" progId="TCLayout.ActiveDocument.1">
                  <p:embed/>
                </p:oleObj>
              </mc:Choice>
              <mc:Fallback>
                <p:oleObj name="think-cell Slide" r:id="rId8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54463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25791" y="4606937"/>
            <a:ext cx="4536831" cy="2081786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Доклад подготовил:</a:t>
            </a:r>
          </a:p>
          <a:p>
            <a:pPr marL="0" indent="0">
              <a:buNone/>
            </a:pP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Шанаев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Савва Андреевич</a:t>
            </a:r>
          </a:p>
          <a:p>
            <a:pPr marL="0" indent="0">
              <a:buNone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тудент Финансового университета при Правительстве РФ </a:t>
            </a:r>
          </a:p>
          <a:p>
            <a:pPr marL="0" indent="0">
              <a:buNone/>
            </a:pP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Сооснователь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Лаборатории Экономических Игр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62622" y="6519446"/>
            <a:ext cx="30667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осква 2016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96461" y="703385"/>
            <a:ext cx="63539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latin typeface="Arial Black" panose="020B0A04020102020204" pitchFamily="34" charset="0"/>
                <a:cs typeface="Arial" panose="020B0604020202020204" pitchFamily="34" charset="0"/>
              </a:rPr>
              <a:t>Теория игр и австрийская экономическая школа:</a:t>
            </a:r>
            <a:r>
              <a:rPr lang="ru-RU" sz="3200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b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призыв к сотрудничеству</a:t>
            </a:r>
            <a:endParaRPr lang="ru-RU" sz="3200" dirty="0"/>
          </a:p>
        </p:txBody>
      </p:sp>
      <p:sp>
        <p:nvSpPr>
          <p:cNvPr id="8" name="Подзаголовок 2"/>
          <p:cNvSpPr txBox="1">
            <a:spLocks/>
          </p:cNvSpPr>
          <p:nvPr/>
        </p:nvSpPr>
        <p:spPr>
          <a:xfrm>
            <a:off x="12907107" y="4082683"/>
            <a:ext cx="5134708" cy="260604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Arial" panose="020B0604020202020204" pitchFamily="34" charset="0"/>
              <a:buNone/>
            </a:pP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Подготовил:</a:t>
            </a:r>
          </a:p>
          <a:p>
            <a:pPr marL="0" indent="0" algn="r">
              <a:buFont typeface="Arial" panose="020B0604020202020204" pitchFamily="34" charset="0"/>
              <a:buNone/>
            </a:pP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Шанаев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С.А.</a:t>
            </a:r>
          </a:p>
          <a:p>
            <a:pPr marL="0" indent="0" algn="r">
              <a:buFont typeface="Arial" panose="020B0604020202020204" pitchFamily="34" charset="0"/>
              <a:buNone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Финансовый университет при Правительстве РФ </a:t>
            </a:r>
          </a:p>
          <a:p>
            <a:pPr marL="0" indent="0" algn="r">
              <a:buFont typeface="Arial" panose="020B0604020202020204" pitchFamily="34" charset="0"/>
              <a:buNone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Лаборатория экономических игр</a:t>
            </a:r>
          </a:p>
          <a:p>
            <a:pPr marL="0" indent="0" algn="r">
              <a:buFont typeface="Arial" panose="020B0604020202020204" pitchFamily="34" charset="0"/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avvashanaev@yandex.ru</a:t>
            </a:r>
          </a:p>
          <a:p>
            <a:pPr marL="0" indent="0" algn="r">
              <a:buFont typeface="Arial" panose="020B0604020202020204" pitchFamily="34" charset="0"/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+7-985-492-17-23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68825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8600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одзаголовок 2"/>
          <p:cNvSpPr txBox="1">
            <a:spLocks/>
          </p:cNvSpPr>
          <p:nvPr/>
        </p:nvSpPr>
        <p:spPr>
          <a:xfrm>
            <a:off x="4709547" y="580158"/>
            <a:ext cx="6137031" cy="57531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одготовил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Шанаев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Савва Андреевич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рганизации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Финансовый университета при Правительстве РФ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Лаборатория Экономических Игр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очта: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avvashanaev@yandex.ru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онтактный телефон: 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+7-985-492-17-23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0972" y="580158"/>
            <a:ext cx="3838575" cy="5753100"/>
          </a:xfrm>
          <a:prstGeom prst="rect">
            <a:avLst/>
          </a:prstGeom>
          <a:ln w="28575">
            <a:solidFill>
              <a:srgbClr val="632E62"/>
            </a:solidFill>
          </a:ln>
        </p:spPr>
      </p:pic>
      <p:cxnSp>
        <p:nvCxnSpPr>
          <p:cNvPr id="14" name="Прямая соединительная линия 13"/>
          <p:cNvCxnSpPr/>
          <p:nvPr/>
        </p:nvCxnSpPr>
        <p:spPr>
          <a:xfrm>
            <a:off x="4709547" y="1035358"/>
            <a:ext cx="7149944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5650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738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ятиугольник 13"/>
          <p:cNvSpPr/>
          <p:nvPr/>
        </p:nvSpPr>
        <p:spPr>
          <a:xfrm>
            <a:off x="354696" y="1966656"/>
            <a:ext cx="2538580" cy="599372"/>
          </a:xfrm>
          <a:prstGeom prst="homePlate">
            <a:avLst/>
          </a:prstGeom>
          <a:solidFill>
            <a:srgbClr val="F3EE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ятиугольник 14"/>
          <p:cNvSpPr/>
          <p:nvPr/>
        </p:nvSpPr>
        <p:spPr>
          <a:xfrm>
            <a:off x="354696" y="3124629"/>
            <a:ext cx="2538580" cy="599372"/>
          </a:xfrm>
          <a:prstGeom prst="homePlate">
            <a:avLst/>
          </a:prstGeom>
          <a:solidFill>
            <a:srgbClr val="F3EE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ятиугольник 15"/>
          <p:cNvSpPr/>
          <p:nvPr/>
        </p:nvSpPr>
        <p:spPr>
          <a:xfrm>
            <a:off x="354696" y="4347243"/>
            <a:ext cx="2538580" cy="599372"/>
          </a:xfrm>
          <a:prstGeom prst="homePlate">
            <a:avLst/>
          </a:prstGeom>
          <a:solidFill>
            <a:srgbClr val="F3EE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ятиугольник 16"/>
          <p:cNvSpPr/>
          <p:nvPr/>
        </p:nvSpPr>
        <p:spPr>
          <a:xfrm>
            <a:off x="354696" y="5560318"/>
            <a:ext cx="2538580" cy="599372"/>
          </a:xfrm>
          <a:prstGeom prst="homePlate">
            <a:avLst/>
          </a:prstGeom>
          <a:solidFill>
            <a:srgbClr val="F3EE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82492"/>
            <a:ext cx="7488043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3200" b="1" dirty="0">
                <a:latin typeface="Arial Black" panose="020B0A04020102020204" pitchFamily="34" charset="0"/>
                <a:cs typeface="Arial" panose="020B0604020202020204" pitchFamily="34" charset="0"/>
              </a:rPr>
              <a:t>«Австрийцы» не имеют единой четкой позиции по теории игр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84356" y="2004732"/>
            <a:ext cx="127483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изес</a:t>
            </a:r>
            <a:endParaRPr lang="ru-RU" sz="28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84356" y="3162705"/>
            <a:ext cx="166154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Ротбард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893275" y="1982011"/>
            <a:ext cx="89587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гра – шутливый аналог борьбы, а не модель экономики </a:t>
            </a: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теория игр ≠ теория деятельности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893275" y="3124629"/>
            <a:ext cx="83960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теория игр – часть обобщенной теории деятельности</a:t>
            </a: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экономика и теория игр не пересекаютс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84356" y="4385319"/>
            <a:ext cx="122501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Хайек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893275" y="4347037"/>
            <a:ext cx="90818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ыночное взаимодействие – «</a:t>
            </a:r>
            <a:r>
              <a:rPr lang="ru-RU" sz="2400" dirty="0" err="1">
                <a:latin typeface="Arial" panose="020B0604020202020204" pitchFamily="34" charset="0"/>
                <a:cs typeface="Arial" panose="020B0604020202020204" pitchFamily="34" charset="0"/>
              </a:rPr>
              <a:t>каталлактическая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игра»</a:t>
            </a: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ценность моделей ограничена «всесилием» моделирующего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84356" y="5598394"/>
            <a:ext cx="241835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Энгельгардт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893276" y="5663131"/>
            <a:ext cx="89587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теория игр ограниченно применима в экономике</a:t>
            </a: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ыработка правил → предпринимательство</a:t>
            </a:r>
            <a:endParaRPr lang="ru-RU" sz="2400" dirty="0"/>
          </a:p>
        </p:txBody>
      </p:sp>
      <p:sp>
        <p:nvSpPr>
          <p:cNvPr id="18" name="TextBox 17"/>
          <p:cNvSpPr txBox="1"/>
          <p:nvPr/>
        </p:nvSpPr>
        <p:spPr>
          <a:xfrm>
            <a:off x="11784628" y="6449090"/>
            <a:ext cx="5128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2076846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64834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70340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3100" b="1" dirty="0">
                <a:latin typeface="Arial Black" panose="020B0A04020102020204" pitchFamily="34" charset="0"/>
                <a:cs typeface="Arial" panose="020B0604020202020204" pitchFamily="34" charset="0"/>
              </a:rPr>
              <a:t>Трактовка теории игр в России </a:t>
            </a:r>
            <a:br>
              <a:rPr lang="ru-RU" sz="3100" b="1" dirty="0"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ru-RU" sz="3100" b="1" dirty="0">
                <a:latin typeface="Arial Black" panose="020B0A04020102020204" pitchFamily="34" charset="0"/>
                <a:cs typeface="Arial" panose="020B0604020202020204" pitchFamily="34" charset="0"/>
              </a:rPr>
              <a:t>подчеркнуто коллективистска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657959" y="1779904"/>
            <a:ext cx="9857641" cy="4351338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400" dirty="0" err="1">
                <a:latin typeface="Arial" panose="020B0604020202020204" pitchFamily="34" charset="0"/>
                <a:cs typeface="Arial" panose="020B0604020202020204" pitchFamily="34" charset="0"/>
              </a:rPr>
              <a:t>Савватеев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: критика децентрализации принятия решений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b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делая хорошо себе, вы не делаете хорошо миру</a:t>
            </a:r>
          </a:p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Аргумент: государство стимулирует кооперацию в «дилеммах заключенного»</a:t>
            </a:r>
          </a:p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стория: «</a:t>
            </a:r>
            <a:r>
              <a:rPr lang="ru-RU" sz="2400" dirty="0" err="1">
                <a:latin typeface="Arial" panose="020B0604020202020204" pitchFamily="34" charset="0"/>
                <a:cs typeface="Arial" panose="020B0604020202020204" pitchFamily="34" charset="0"/>
              </a:rPr>
              <a:t>Нэш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доказал теорию прибавочной стоимости»</a:t>
            </a:r>
          </a:p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Мировая практика: теория игр – обоснование для регулирования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784628" y="6449090"/>
            <a:ext cx="5128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/>
              <a:t>3</a:t>
            </a:r>
          </a:p>
        </p:txBody>
      </p:sp>
      <p:sp>
        <p:nvSpPr>
          <p:cNvPr id="5" name="Шеврон 4"/>
          <p:cNvSpPr/>
          <p:nvPr/>
        </p:nvSpPr>
        <p:spPr>
          <a:xfrm>
            <a:off x="413238" y="1778609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" name="Шеврон 5"/>
          <p:cNvSpPr/>
          <p:nvPr/>
        </p:nvSpPr>
        <p:spPr>
          <a:xfrm>
            <a:off x="408841" y="3036211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Шеврон 6"/>
          <p:cNvSpPr/>
          <p:nvPr/>
        </p:nvSpPr>
        <p:spPr>
          <a:xfrm>
            <a:off x="408840" y="4258643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" name="Шеврон 7"/>
          <p:cNvSpPr/>
          <p:nvPr/>
        </p:nvSpPr>
        <p:spPr>
          <a:xfrm>
            <a:off x="408839" y="5167917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58262" y="1565030"/>
            <a:ext cx="725362" cy="4343400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813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Объект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5038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17585"/>
            <a:ext cx="8598877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3200" b="1" dirty="0">
                <a:latin typeface="Arial Black" panose="020B0A04020102020204" pitchFamily="34" charset="0"/>
                <a:cs typeface="Arial" panose="020B0604020202020204" pitchFamily="34" charset="0"/>
              </a:rPr>
              <a:t>Теория игр имеет отчетливо «австрийские» корни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527538" y="2174989"/>
            <a:ext cx="11079532" cy="3616383"/>
            <a:chOff x="527538" y="1923043"/>
            <a:chExt cx="11079532" cy="3616383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6734051" y="2221982"/>
              <a:ext cx="1251192" cy="298938"/>
            </a:xfrm>
            <a:prstGeom prst="rect">
              <a:avLst/>
            </a:prstGeom>
            <a:solidFill>
              <a:srgbClr val="AD8E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6734051" y="4941548"/>
              <a:ext cx="1251192" cy="298938"/>
            </a:xfrm>
            <a:prstGeom prst="rect">
              <a:avLst/>
            </a:prstGeom>
            <a:solidFill>
              <a:srgbClr val="AD8E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ятиугольник 21"/>
            <p:cNvSpPr/>
            <p:nvPr/>
          </p:nvSpPr>
          <p:spPr>
            <a:xfrm>
              <a:off x="7659809" y="1923043"/>
              <a:ext cx="3947261" cy="896816"/>
            </a:xfrm>
            <a:prstGeom prst="homePlate">
              <a:avLst/>
            </a:prstGeom>
            <a:solidFill>
              <a:srgbClr val="AD8E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Теория игр и экономическое поведение»</a:t>
              </a:r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8" name="Пятиугольник 7"/>
            <p:cNvSpPr/>
            <p:nvPr/>
          </p:nvSpPr>
          <p:spPr>
            <a:xfrm>
              <a:off x="2956900" y="1923043"/>
              <a:ext cx="2494330" cy="896816"/>
            </a:xfrm>
            <a:prstGeom prst="homePlate">
              <a:avLst/>
            </a:prstGeom>
            <a:solidFill>
              <a:srgbClr val="AD8E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bg1"/>
                  </a:solidFill>
                </a:rPr>
                <a:t>Семинар 1924</a:t>
              </a:r>
            </a:p>
          </p:txBody>
        </p:sp>
        <p:sp>
          <p:nvSpPr>
            <p:cNvPr id="10" name="Пятиугольник 9"/>
            <p:cNvSpPr/>
            <p:nvPr/>
          </p:nvSpPr>
          <p:spPr>
            <a:xfrm>
              <a:off x="7659809" y="4642610"/>
              <a:ext cx="2048608" cy="870204"/>
            </a:xfrm>
            <a:prstGeom prst="homePlate">
              <a:avLst/>
            </a:prstGeom>
            <a:solidFill>
              <a:srgbClr val="AD8E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bg1"/>
                  </a:solidFill>
                </a:rPr>
                <a:t>Курс по международной экономике</a:t>
              </a:r>
            </a:p>
          </p:txBody>
        </p:sp>
        <p:sp>
          <p:nvSpPr>
            <p:cNvPr id="13" name="Стрелка углом вверх 12"/>
            <p:cNvSpPr/>
            <p:nvPr/>
          </p:nvSpPr>
          <p:spPr>
            <a:xfrm rot="16200000" flipV="1">
              <a:off x="1583958" y="1922862"/>
              <a:ext cx="1195754" cy="1550131"/>
            </a:xfrm>
            <a:prstGeom prst="bentUpArrow">
              <a:avLst>
                <a:gd name="adj1" fmla="val 25000"/>
                <a:gd name="adj2" fmla="val 25000"/>
                <a:gd name="adj3" fmla="val 0"/>
              </a:avLst>
            </a:prstGeom>
            <a:solidFill>
              <a:srgbClr val="AD8E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Пятиугольник 14"/>
            <p:cNvSpPr/>
            <p:nvPr/>
          </p:nvSpPr>
          <p:spPr>
            <a:xfrm>
              <a:off x="2956900" y="4642610"/>
              <a:ext cx="2494330" cy="896816"/>
            </a:xfrm>
            <a:prstGeom prst="homePlate">
              <a:avLst/>
            </a:prstGeom>
            <a:solidFill>
              <a:srgbClr val="AD8E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bg1"/>
                  </a:solidFill>
                </a:rPr>
                <a:t>Семинар 1933-1934</a:t>
              </a:r>
            </a:p>
          </p:txBody>
        </p:sp>
        <p:sp>
          <p:nvSpPr>
            <p:cNvPr id="16" name="Стрелка углом вверх 15"/>
            <p:cNvSpPr/>
            <p:nvPr/>
          </p:nvSpPr>
          <p:spPr>
            <a:xfrm rot="5400000">
              <a:off x="1583957" y="4006394"/>
              <a:ext cx="1195754" cy="1550131"/>
            </a:xfrm>
            <a:prstGeom prst="bentUpArrow">
              <a:avLst>
                <a:gd name="adj1" fmla="val 25000"/>
                <a:gd name="adj2" fmla="val 25000"/>
                <a:gd name="adj3" fmla="val 0"/>
              </a:avLst>
            </a:prstGeom>
            <a:solidFill>
              <a:srgbClr val="AD8E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5451230" y="1923044"/>
              <a:ext cx="1758462" cy="896815"/>
            </a:xfrm>
            <a:prstGeom prst="rect">
              <a:avLst/>
            </a:prstGeom>
            <a:solidFill>
              <a:srgbClr val="AD8ED7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ргенштерн</a:t>
              </a:r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5451230" y="4642610"/>
              <a:ext cx="1758462" cy="896815"/>
            </a:xfrm>
            <a:prstGeom prst="rect">
              <a:avLst/>
            </a:prstGeom>
            <a:solidFill>
              <a:srgbClr val="AD8ED7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озелитц</a:t>
              </a:r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9704022" y="4615999"/>
              <a:ext cx="1758462" cy="896815"/>
            </a:xfrm>
            <a:prstGeom prst="rect">
              <a:avLst/>
            </a:prstGeom>
            <a:solidFill>
              <a:srgbClr val="AD8ED7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эш</a:t>
              </a:r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27538" y="3295805"/>
              <a:ext cx="1758462" cy="896815"/>
            </a:xfrm>
            <a:prstGeom prst="rect">
              <a:avLst/>
            </a:prstGeom>
            <a:solidFill>
              <a:srgbClr val="AD8ED7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зес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1784628" y="6449090"/>
            <a:ext cx="5128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8530522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101354"/>
            <a:ext cx="9144000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600" b="1" dirty="0">
                <a:latin typeface="Arial Black" panose="020B0A04020102020204" pitchFamily="34" charset="0"/>
                <a:cs typeface="Arial" panose="020B0604020202020204" pitchFamily="34" charset="0"/>
              </a:rPr>
              <a:t>Концепции теории игр согласовываются </a:t>
            </a:r>
            <a:br>
              <a:rPr lang="ru-RU" sz="2600" b="1" dirty="0"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ru-RU" sz="2600" b="1" dirty="0">
                <a:latin typeface="Arial Black" panose="020B0A04020102020204" pitchFamily="34" charset="0"/>
                <a:cs typeface="Arial" panose="020B0604020202020204" pitchFamily="34" charset="0"/>
              </a:rPr>
              <a:t>с предпосылками австрийской школы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492369" y="1462087"/>
            <a:ext cx="10673862" cy="4351338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авновесие в доминирующих стратегиях и равновесие </a:t>
            </a:r>
            <a:r>
              <a:rPr lang="ru-RU" sz="2400" dirty="0" err="1">
                <a:latin typeface="Arial" panose="020B0604020202020204" pitchFamily="34" charset="0"/>
                <a:cs typeface="Arial" panose="020B0604020202020204" pitchFamily="34" charset="0"/>
              </a:rPr>
              <a:t>Нэша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в чистых стратегиях даже не требуют количественного выражения полезности</a:t>
            </a:r>
          </a:p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Некооперативная теория игр в общем случае не требует </a:t>
            </a:r>
            <a:r>
              <a:rPr lang="ru-RU" sz="2400" dirty="0" err="1">
                <a:latin typeface="Arial" panose="020B0604020202020204" pitchFamily="34" charset="0"/>
                <a:cs typeface="Arial" panose="020B0604020202020204" pitchFamily="34" charset="0"/>
              </a:rPr>
              <a:t>межперсональной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сравнимости полезностей</a:t>
            </a:r>
          </a:p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Теоретико-игровой подход является микро- по определению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Для эмпирической проверки теоретико-игровых моделей не нужны статистические и эконометрические выкладки</a:t>
            </a:r>
          </a:p>
        </p:txBody>
      </p:sp>
      <p:sp>
        <p:nvSpPr>
          <p:cNvPr id="4" name="Шеврон 3"/>
          <p:cNvSpPr/>
          <p:nvPr/>
        </p:nvSpPr>
        <p:spPr>
          <a:xfrm>
            <a:off x="254976" y="1444502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" name="Шеврон 4"/>
          <p:cNvSpPr/>
          <p:nvPr/>
        </p:nvSpPr>
        <p:spPr>
          <a:xfrm>
            <a:off x="250579" y="2684519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" name="Шеврон 5"/>
          <p:cNvSpPr/>
          <p:nvPr/>
        </p:nvSpPr>
        <p:spPr>
          <a:xfrm>
            <a:off x="250578" y="3924536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Шеврон 6"/>
          <p:cNvSpPr/>
          <p:nvPr/>
        </p:nvSpPr>
        <p:spPr>
          <a:xfrm>
            <a:off x="250577" y="4851395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1230923"/>
            <a:ext cx="725362" cy="4343400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11784628" y="6449090"/>
            <a:ext cx="5128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6679703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858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105510"/>
            <a:ext cx="9601200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800" b="1" dirty="0">
                <a:latin typeface="Arial Black" panose="020B0A04020102020204" pitchFamily="34" charset="0"/>
                <a:cs typeface="Arial" panose="020B0604020202020204" pitchFamily="34" charset="0"/>
              </a:rPr>
              <a:t>Значимость равновесий в смешанных</a:t>
            </a:r>
            <a:br>
              <a:rPr lang="ru-RU" sz="2800" b="1" dirty="0"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latin typeface="Arial Black" panose="020B0A04020102020204" pitchFamily="34" charset="0"/>
                <a:cs typeface="Arial" panose="020B0604020202020204" pitchFamily="34" charset="0"/>
              </a:rPr>
              <a:t>стратегиях сильно переоценен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474786" y="1431073"/>
            <a:ext cx="10357338" cy="4351338"/>
          </a:xfrm>
          <a:prstGeom prst="rect">
            <a:avLst/>
          </a:prstGeom>
        </p:spPr>
        <p:txBody>
          <a:bodyPr/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о многих случаях смешанные стратегии – «костыль» для обобщения теории</a:t>
            </a:r>
          </a:p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Люди (к сожалению или к счастью) не оборудованы встроенным ГСЧ</a:t>
            </a:r>
          </a:p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еальные игры тяготеют к эффективным равновесиям в чистых стратегиях за счёт неявной корректировки правил игры (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teal/split;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«трагедии общин»)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Неуместное использование концепции смешанных стратегий – одна из причин коллективистского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ias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ри интерпретации результатов моделей теории игр</a:t>
            </a:r>
          </a:p>
        </p:txBody>
      </p:sp>
      <p:sp>
        <p:nvSpPr>
          <p:cNvPr id="4" name="Шеврон 3"/>
          <p:cNvSpPr/>
          <p:nvPr/>
        </p:nvSpPr>
        <p:spPr>
          <a:xfrm>
            <a:off x="254976" y="1444502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" name="Шеврон 4"/>
          <p:cNvSpPr/>
          <p:nvPr/>
        </p:nvSpPr>
        <p:spPr>
          <a:xfrm>
            <a:off x="250579" y="2684519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" name="Шеврон 5"/>
          <p:cNvSpPr/>
          <p:nvPr/>
        </p:nvSpPr>
        <p:spPr>
          <a:xfrm>
            <a:off x="250578" y="3572841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Шеврон 6"/>
          <p:cNvSpPr/>
          <p:nvPr/>
        </p:nvSpPr>
        <p:spPr>
          <a:xfrm>
            <a:off x="250577" y="5150337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1230923"/>
            <a:ext cx="725362" cy="4343400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11784628" y="6449090"/>
            <a:ext cx="5128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1492490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9991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140677"/>
            <a:ext cx="8809892" cy="132556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500" b="1" dirty="0">
                <a:latin typeface="Arial Black" panose="020B0A04020102020204" pitchFamily="34" charset="0"/>
                <a:cs typeface="Arial" panose="020B0604020202020204" pitchFamily="34" charset="0"/>
              </a:rPr>
              <a:t>Теория игр – «плацдарм» для внедрения австрийской методологии в </a:t>
            </a:r>
            <a:r>
              <a:rPr lang="ru-RU" sz="2500" b="1" dirty="0" err="1">
                <a:latin typeface="Arial Black" panose="020B0A04020102020204" pitchFamily="34" charset="0"/>
                <a:cs typeface="Arial" panose="020B0604020202020204" pitchFamily="34" charset="0"/>
              </a:rPr>
              <a:t>мейнстрим</a:t>
            </a:r>
            <a:endParaRPr lang="ru-RU" sz="2500" b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369276" y="1466240"/>
            <a:ext cx="11623431" cy="43641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ндивидуальная ставка временных предпочтений широко используется в теории повторяющихся игр (как индивидуальные ставки дисконтирования)</a:t>
            </a:r>
          </a:p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ейчас в макроэкономике – «основной психологический закон» </a:t>
            </a:r>
            <a:r>
              <a:rPr lang="ru-RU" sz="2400" dirty="0" err="1">
                <a:latin typeface="Arial" panose="020B0604020202020204" pitchFamily="34" charset="0"/>
                <a:cs typeface="Arial" panose="020B0604020202020204" pitchFamily="34" charset="0"/>
              </a:rPr>
              <a:t>Кейнса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или предположение о предпочтительности постоянного потребления </a:t>
            </a:r>
            <a:r>
              <a:rPr lang="ru-RU" sz="2400" dirty="0" err="1">
                <a:latin typeface="Arial" panose="020B0604020202020204" pitchFamily="34" charset="0"/>
                <a:cs typeface="Arial" panose="020B0604020202020204" pitchFamily="34" charset="0"/>
              </a:rPr>
              <a:t>Барро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Дисконтирование по рыночной ставке процента у </a:t>
            </a:r>
            <a:r>
              <a:rPr lang="ru-RU" sz="2400" dirty="0" err="1">
                <a:latin typeface="Arial" panose="020B0604020202020204" pitchFamily="34" charset="0"/>
                <a:cs typeface="Arial" panose="020B0604020202020204" pitchFamily="34" charset="0"/>
              </a:rPr>
              <a:t>Барро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– некорректное заимствование методологического аппарата из количественных финансов </a:t>
            </a:r>
          </a:p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Теоретико-игровое моделирование выбора потребление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бережение позволит более адекватно оценивать влияние регулятивных факторов</a:t>
            </a:r>
          </a:p>
        </p:txBody>
      </p:sp>
      <p:sp>
        <p:nvSpPr>
          <p:cNvPr id="4" name="Шеврон 3"/>
          <p:cNvSpPr/>
          <p:nvPr/>
        </p:nvSpPr>
        <p:spPr>
          <a:xfrm>
            <a:off x="145068" y="1444502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" name="Шеврон 4"/>
          <p:cNvSpPr/>
          <p:nvPr/>
        </p:nvSpPr>
        <p:spPr>
          <a:xfrm>
            <a:off x="145068" y="2702104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Шеврон 6"/>
          <p:cNvSpPr/>
          <p:nvPr/>
        </p:nvSpPr>
        <p:spPr>
          <a:xfrm>
            <a:off x="145068" y="3942122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" name="Шеврон 7"/>
          <p:cNvSpPr/>
          <p:nvPr/>
        </p:nvSpPr>
        <p:spPr>
          <a:xfrm>
            <a:off x="145068" y="5185504"/>
            <a:ext cx="474785" cy="419467"/>
          </a:xfrm>
          <a:prstGeom prst="chevron">
            <a:avLst/>
          </a:prstGeom>
          <a:solidFill>
            <a:srgbClr val="AD8E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1230923"/>
            <a:ext cx="690192" cy="4923692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11784628" y="6449090"/>
            <a:ext cx="5128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2906033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0158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ятиугольник 2"/>
          <p:cNvSpPr/>
          <p:nvPr/>
        </p:nvSpPr>
        <p:spPr>
          <a:xfrm>
            <a:off x="181051" y="2602936"/>
            <a:ext cx="4654717" cy="2844414"/>
          </a:xfrm>
          <a:prstGeom prst="homePlate">
            <a:avLst>
              <a:gd name="adj" fmla="val 20326"/>
            </a:avLst>
          </a:prstGeom>
          <a:noFill/>
          <a:ln w="57150">
            <a:solidFill>
              <a:srgbClr val="CDB8E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725615" y="79858"/>
            <a:ext cx="9431216" cy="1325562"/>
          </a:xfrm>
        </p:spPr>
        <p:txBody>
          <a:bodyPr>
            <a:noAutofit/>
          </a:bodyPr>
          <a:lstStyle/>
          <a:p>
            <a:pPr algn="r"/>
            <a:r>
              <a:rPr lang="ru-RU" sz="3000" b="1" dirty="0">
                <a:latin typeface="Arial Black" panose="020B0A04020102020204" pitchFamily="34" charset="0"/>
                <a:cs typeface="Arial" panose="020B0604020202020204" pitchFamily="34" charset="0"/>
              </a:rPr>
              <a:t>Теория игр усилит австрийскую аргументацию в дискуссии о ЦБ</a:t>
            </a:r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458141" y="2927607"/>
            <a:ext cx="5503985" cy="22504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е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Сот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: «общинные пастбища»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именение теории игр позволяет обобщить и усилить эту позицию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172602"/>
              </p:ext>
            </p:extLst>
          </p:nvPr>
        </p:nvGraphicFramePr>
        <p:xfrm>
          <a:off x="4994030" y="1432026"/>
          <a:ext cx="6919018" cy="2341820"/>
        </p:xfrm>
        <a:graphic>
          <a:graphicData uri="http://schemas.openxmlformats.org/drawingml/2006/table">
            <a:tbl>
              <a:tblPr/>
              <a:tblGrid>
                <a:gridCol w="10446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81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99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063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2435"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з </a:t>
                      </a:r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il-out'</a:t>
                      </a:r>
                      <a:r>
                        <a:rPr lang="ru-RU" sz="15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в</a:t>
                      </a: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ЦБ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нк Б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9877"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рискует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искует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9877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нк А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рискует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 - небольшая прибыль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B8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 - получает рынок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98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 - небольшая прибыль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B8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 - разоряется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98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искует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 - разоряется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 - большая прибыль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98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 - получает рынок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 - большая прибыль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8373813"/>
              </p:ext>
            </p:extLst>
          </p:nvPr>
        </p:nvGraphicFramePr>
        <p:xfrm>
          <a:off x="4994030" y="4264803"/>
          <a:ext cx="6919018" cy="2341824"/>
        </p:xfrm>
        <a:graphic>
          <a:graphicData uri="http://schemas.openxmlformats.org/drawingml/2006/table">
            <a:tbl>
              <a:tblPr/>
              <a:tblGrid>
                <a:gridCol w="10446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81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99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063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0304"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 </a:t>
                      </a:r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il-out'</a:t>
                      </a:r>
                      <a:r>
                        <a:rPr lang="ru-RU" sz="15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ми</a:t>
                      </a: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ЦБ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нк Б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0304"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рискует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искует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030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нк А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рискует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 - небольшая прибыль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 - небольшая прибыль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03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 - небольшая прибыль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 - </a:t>
                      </a:r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il-out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03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искует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 - </a:t>
                      </a:r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il-out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 - большая прибыль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B8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03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 - небольшая прибыль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 - большая прибыль</a:t>
                      </a:r>
                    </a:p>
                  </a:txBody>
                  <a:tcPr marL="10043" marR="10043" marT="100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B8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-110560" y="6465277"/>
            <a:ext cx="5128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/>
              <a:t>8</a:t>
            </a:r>
          </a:p>
        </p:txBody>
      </p:sp>
      <p:sp>
        <p:nvSpPr>
          <p:cNvPr id="11" name="Шеврон 10"/>
          <p:cNvSpPr/>
          <p:nvPr/>
        </p:nvSpPr>
        <p:spPr>
          <a:xfrm>
            <a:off x="236940" y="3843117"/>
            <a:ext cx="474785" cy="419467"/>
          </a:xfrm>
          <a:prstGeom prst="chevron">
            <a:avLst/>
          </a:prstGeom>
          <a:solidFill>
            <a:srgbClr val="CDB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0" name="Шеврон 9"/>
          <p:cNvSpPr/>
          <p:nvPr/>
        </p:nvSpPr>
        <p:spPr>
          <a:xfrm>
            <a:off x="236940" y="2949141"/>
            <a:ext cx="474785" cy="419467"/>
          </a:xfrm>
          <a:prstGeom prst="chevron">
            <a:avLst/>
          </a:prstGeom>
          <a:solidFill>
            <a:srgbClr val="CDB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5729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105510"/>
            <a:ext cx="8176846" cy="1325562"/>
          </a:xfrm>
        </p:spPr>
        <p:txBody>
          <a:bodyPr>
            <a:noAutofit/>
          </a:bodyPr>
          <a:lstStyle/>
          <a:p>
            <a:r>
              <a:rPr lang="ru-RU" sz="2600" b="1" dirty="0">
                <a:latin typeface="Arial Black" panose="020B0A04020102020204" pitchFamily="34" charset="0"/>
                <a:cs typeface="Arial" panose="020B0604020202020204" pitchFamily="34" charset="0"/>
              </a:rPr>
              <a:t>Теория игр позволяет создать «общую теорию частных общественных благ»</a:t>
            </a:r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252046" y="5108795"/>
            <a:ext cx="10404231" cy="845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Теоретико-игровое моделирование позволяет создавать реальные механизмы добровольных взаимодействий и легко их тестировать (эксперимент с ДЮСШ)</a:t>
            </a:r>
          </a:p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1706" y="1426918"/>
            <a:ext cx="126902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Австрийская школа предлагает два основных аргумента против вмешательства:</a:t>
            </a:r>
            <a:endParaRPr lang="ru-RU" sz="2000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2046" y="1888583"/>
            <a:ext cx="1040423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1) Теорема о невозможности социализма – на микроуровне</a:t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2) Австрийская теория бизнес-цикла (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BCT) –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на макроуровне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2047" y="1811213"/>
            <a:ext cx="1026355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181706" y="3060840"/>
            <a:ext cx="1026355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Сегодняшние аргументы против предоставления общественных благ гос-вом: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52046" y="3577023"/>
            <a:ext cx="1080867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ase study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 «принцип Остром» – неясна возможность обобщения</a:t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2) Концепция «провалов государства» – неясна конструктивная альтернатива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52047" y="3460950"/>
            <a:ext cx="1026355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322384" y="5774132"/>
            <a:ext cx="1026355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1784628" y="6449090"/>
            <a:ext cx="5128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071030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Фиолетовый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0</TotalTime>
  <Words>551</Words>
  <Application>Microsoft Office PowerPoint</Application>
  <PresentationFormat>Широкоэкранный</PresentationFormat>
  <Paragraphs>128</Paragraphs>
  <Slides>10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Arial</vt:lpstr>
      <vt:lpstr>Arial Black</vt:lpstr>
      <vt:lpstr>Calibri</vt:lpstr>
      <vt:lpstr>Calibri Light</vt:lpstr>
      <vt:lpstr>Тема Office</vt:lpstr>
      <vt:lpstr>think-cell Slide</vt:lpstr>
      <vt:lpstr>Презентация PowerPoint</vt:lpstr>
      <vt:lpstr>«Австрийцы» не имеют единой четкой позиции по теории игр </vt:lpstr>
      <vt:lpstr>Трактовка теории игр в России  подчеркнуто коллективистская</vt:lpstr>
      <vt:lpstr>Теория игр имеет отчетливо «австрийские» корни</vt:lpstr>
      <vt:lpstr>Концепции теории игр согласовываются  с предпосылками австрийской школы</vt:lpstr>
      <vt:lpstr>Значимость равновесий в смешанных стратегиях сильно переоценена</vt:lpstr>
      <vt:lpstr>Теория игр – «плацдарм» для внедрения австрийской методологии в мейнстрим</vt:lpstr>
      <vt:lpstr>Теория игр усилит австрийскую аргументацию в дискуссии о ЦБ</vt:lpstr>
      <vt:lpstr>Теория игр позволяет создать «общую теорию частных общественных благ»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ория игр и австрийская экономическая школа:  призыв к сотрудничеству</dc:title>
  <dc:creator>Шанаев Савва</dc:creator>
  <cp:lastModifiedBy>Михаил Васенин</cp:lastModifiedBy>
  <cp:revision>29</cp:revision>
  <dcterms:created xsi:type="dcterms:W3CDTF">2016-05-20T11:17:02Z</dcterms:created>
  <dcterms:modified xsi:type="dcterms:W3CDTF">2016-05-20T15:34:44Z</dcterms:modified>
</cp:coreProperties>
</file>